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Layouts/slideLayout39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40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4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3.xml" ContentType="application/vnd.openxmlformats-officedocument.presentationml.tags+xml"/>
  <Override PartName="/ppt/tags/tag10.xml" ContentType="application/vnd.openxmlformats-officedocument.presentationml.tags+xml"/>
  <Override PartName="/ppt/tags/tag7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90" r:id="rId2"/>
    <p:sldMasterId id="2147483710" r:id="rId3"/>
  </p:sldMasterIdLst>
  <p:notesMasterIdLst>
    <p:notesMasterId r:id="rId13"/>
  </p:notesMasterIdLst>
  <p:handoutMasterIdLst>
    <p:handoutMasterId r:id="rId14"/>
  </p:handoutMasterIdLst>
  <p:sldIdLst>
    <p:sldId id="421" r:id="rId4"/>
    <p:sldId id="616" r:id="rId5"/>
    <p:sldId id="667" r:id="rId6"/>
    <p:sldId id="668" r:id="rId7"/>
    <p:sldId id="669" r:id="rId8"/>
    <p:sldId id="670" r:id="rId9"/>
    <p:sldId id="671" r:id="rId10"/>
    <p:sldId id="672" r:id="rId11"/>
    <p:sldId id="584" r:id="rId12"/>
  </p:sldIdLst>
  <p:sldSz cx="12192000" cy="6858000"/>
  <p:notesSz cx="6858000" cy="9144000"/>
  <p:custDataLst>
    <p:tags r:id="rId1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yush Rathi1" initials="PR" lastIdx="1" clrIdx="4">
    <p:extLst/>
  </p:cmAuthor>
  <p:cmAuthor id="2" name="Vertika Rai" initials="VR" lastIdx="22" clrIdx="1">
    <p:extLst/>
  </p:cmAuthor>
  <p:cmAuthor id="3" name="Karan Ashara" initials="KA" lastIdx="34" clrIdx="2">
    <p:extLst/>
  </p:cmAuthor>
  <p:cmAuthor id="4" name="Parkar, Mandar (C)" initials="PM(" lastIdx="3" clrIdx="3">
    <p:extLst/>
  </p:cmAuthor>
  <p:cmAuthor id="5" name="Upadhyay, Saurabh" initials="US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FE0000"/>
    <a:srgbClr val="FFFFFF"/>
    <a:srgbClr val="BAFFFB"/>
    <a:srgbClr val="F2F2F2"/>
    <a:srgbClr val="E9E9E9"/>
    <a:srgbClr val="00B4A7"/>
    <a:srgbClr val="C00000"/>
    <a:srgbClr val="00ABEB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65" autoAdjust="0"/>
    <p:restoredTop sz="93883" autoAdjust="0"/>
  </p:normalViewPr>
  <p:slideViewPr>
    <p:cSldViewPr snapToGrid="0">
      <p:cViewPr varScale="1">
        <p:scale>
          <a:sx n="73" d="100"/>
          <a:sy n="73" d="100"/>
        </p:scale>
        <p:origin x="924" y="7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23" Type="http://schemas.openxmlformats.org/officeDocument/2006/relationships/customXml" Target="../customXml/item3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9-12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9-12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69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9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55155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8786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341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85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84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6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1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0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0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25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1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99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6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5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3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62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499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6" r:id="rId16"/>
    <p:sldLayoutId id="214748370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1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hoek 69">
            <a:extLst>
              <a:ext uri="{FF2B5EF4-FFF2-40B4-BE49-F238E27FC236}">
                <a16:creationId xmlns:a16="http://schemas.microsoft.com/office/drawing/2014/main" id="{529DDD94-DE2F-4AA8-88E1-1B4BB698131E}"/>
              </a:ext>
            </a:extLst>
          </p:cNvPr>
          <p:cNvSpPr/>
          <p:nvPr/>
        </p:nvSpPr>
        <p:spPr>
          <a:xfrm>
            <a:off x="0" y="0"/>
            <a:ext cx="12192000" cy="115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1CA85DC-4DEF-47F2-9E6D-EB718A85D9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72" name="Rechthoek 71">
            <a:extLst>
              <a:ext uri="{FF2B5EF4-FFF2-40B4-BE49-F238E27FC236}">
                <a16:creationId xmlns:a16="http://schemas.microsoft.com/office/drawing/2014/main" id="{32160439-F406-4D6E-8C00-6C6E651235AD}"/>
              </a:ext>
            </a:extLst>
          </p:cNvPr>
          <p:cNvSpPr/>
          <p:nvPr/>
        </p:nvSpPr>
        <p:spPr>
          <a:xfrm rot="10800000" flipV="1">
            <a:off x="0" y="-216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45368125-8D6E-4328-929D-2ACE1A29C8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159174"/>
            <a:ext cx="8797839" cy="5698826"/>
          </a:xfrm>
        </p:spPr>
        <p:txBody>
          <a:bodyPr/>
          <a:lstStyle/>
          <a:p>
            <a:endParaRPr lang="en-GB" dirty="0">
              <a:noFill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B436DF22-24B8-475A-8692-C184ED83C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420" y="1953795"/>
            <a:ext cx="7201659" cy="1263618"/>
          </a:xfrm>
        </p:spPr>
        <p:txBody>
          <a:bodyPr/>
          <a:lstStyle/>
          <a:p>
            <a:r>
              <a:rPr lang="en-GB" dirty="0">
                <a:latin typeface="GothamBlack" charset="0"/>
              </a:rPr>
              <a:t>CPQ – </a:t>
            </a:r>
            <a:r>
              <a:rPr lang="en-GB" dirty="0" smtClean="0">
                <a:latin typeface="GothamBlack" charset="0"/>
              </a:rPr>
              <a:t>Asia</a:t>
            </a:r>
            <a:br>
              <a:rPr lang="en-GB" dirty="0" smtClean="0">
                <a:latin typeface="GothamBlack" charset="0"/>
              </a:rPr>
            </a:br>
            <a:r>
              <a:rPr lang="en-GB" dirty="0" smtClean="0">
                <a:latin typeface="GothamBlack" charset="0"/>
              </a:rPr>
              <a:t>Bulk</a:t>
            </a:r>
            <a:br>
              <a:rPr lang="en-GB" dirty="0" smtClean="0">
                <a:latin typeface="GothamBlack" charset="0"/>
              </a:rPr>
            </a:b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Design and </a:t>
            </a:r>
            <a:r>
              <a:rPr lang="en-GB" sz="2800" i="1" dirty="0" err="1" smtClean="0">
                <a:latin typeface="GothamBlack" charset="0"/>
              </a:rPr>
              <a:t>Mockup</a:t>
            </a:r>
            <a:r>
              <a:rPr lang="en-GB" sz="2800" i="1" dirty="0">
                <a:latin typeface="GothamBlack" charset="0"/>
              </a:rPr>
              <a:t/>
            </a:r>
            <a:br>
              <a:rPr lang="en-GB" sz="2800" i="1" dirty="0">
                <a:latin typeface="GothamBlack" charset="0"/>
              </a:rPr>
            </a:br>
            <a:r>
              <a:rPr lang="en-GB" sz="2800" i="1" dirty="0" smtClean="0">
                <a:latin typeface="GothamBlack" charset="0"/>
              </a:rPr>
              <a:t>Dec </a:t>
            </a:r>
            <a:r>
              <a:rPr lang="en-GB" sz="2800" i="1" dirty="0">
                <a:latin typeface="GothamBlack" charset="0"/>
              </a:rPr>
              <a:t>‘19</a:t>
            </a:r>
            <a:endParaRPr lang="en-GB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9268398B-03CD-446A-A535-ED5D1462F9D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0AFBD613-E4E9-4EE8-B1CB-1F6B50F72820}"/>
              </a:ext>
            </a:extLst>
          </p:cNvPr>
          <p:cNvSpPr/>
          <p:nvPr/>
        </p:nvSpPr>
        <p:spPr>
          <a:xfrm>
            <a:off x="10894100" y="71407"/>
            <a:ext cx="12875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82D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42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1600" dirty="0"/>
              <a:t>Document Release and Change Log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208254"/>
              </p:ext>
            </p:extLst>
          </p:nvPr>
        </p:nvGraphicFramePr>
        <p:xfrm>
          <a:off x="381217" y="620204"/>
          <a:ext cx="11429562" cy="1990191"/>
        </p:xfrm>
        <a:graphic>
          <a:graphicData uri="http://schemas.openxmlformats.org/drawingml/2006/table">
            <a:tbl>
              <a:tblPr/>
              <a:tblGrid>
                <a:gridCol w="1632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7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39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PQ Asia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3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sion Numb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2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02 Dec , </a:t>
                      </a:r>
                      <a:r>
                        <a:rPr lang="en-GB" sz="1400" baseline="0" dirty="0">
                          <a:latin typeface="+mj-lt"/>
                        </a:rPr>
                        <a:t>2019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lo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AutoNum type="arabicPeriod"/>
                        <a:tabLst/>
                        <a:defRPr/>
                      </a:pPr>
                      <a:r>
                        <a:rPr kumimoji="0" lang="en-IN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lk – Address Capture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AutoNum type="arabicPeriod"/>
                        <a:tabLst/>
                        <a:defRPr/>
                      </a:pPr>
                      <a:r>
                        <a:rPr kumimoji="0" lang="en-IN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lk – Connectivity Check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8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3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Input Asian site address: </a:t>
            </a:r>
            <a:r>
              <a:rPr lang="en-GB" dirty="0" smtClean="0"/>
              <a:t>Bulk Upload Utility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026434" y="1029989"/>
            <a:ext cx="292608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2425" lvl="2" indent="-171450" algn="just">
              <a:buClr>
                <a:schemeClr val="accent2"/>
              </a:buClr>
              <a:buFontTx/>
              <a:buChar char="-"/>
            </a:pPr>
            <a:endParaRPr lang="en-GB" sz="1200" i="1" dirty="0"/>
          </a:p>
          <a:p>
            <a:pPr marL="352425" lvl="2" indent="-1714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200" dirty="0" smtClean="0"/>
              <a:t>There </a:t>
            </a:r>
            <a:r>
              <a:rPr lang="en-GB" sz="1200" dirty="0"/>
              <a:t>will be an additional field to allow user to optionally enter “ Customer Building Name</a:t>
            </a:r>
            <a:r>
              <a:rPr lang="en-GB" sz="1200" dirty="0" smtClean="0"/>
              <a:t>” in Bulk upload utility.</a:t>
            </a:r>
          </a:p>
          <a:p>
            <a:pPr marL="352425" lvl="2" indent="-1714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GB" sz="1200" dirty="0" smtClean="0"/>
          </a:p>
          <a:p>
            <a:pPr marL="352425" lvl="2" indent="-1714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200" dirty="0" smtClean="0"/>
              <a:t>Customer Building Name will be added on the UI but not to be used in the bulk  templates</a:t>
            </a:r>
            <a:endParaRPr lang="en-GB" sz="1200" dirty="0"/>
          </a:p>
          <a:p>
            <a:pPr marL="352425" lvl="2" indent="-171450" algn="just">
              <a:buClr>
                <a:schemeClr val="accent2"/>
              </a:buClr>
              <a:buFontTx/>
              <a:buChar char="-"/>
            </a:pPr>
            <a:endParaRPr lang="en-GB" sz="1200" dirty="0"/>
          </a:p>
          <a:p>
            <a:endParaRPr lang="en-US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723900"/>
            <a:ext cx="8305800" cy="506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2456597" y="4176215"/>
            <a:ext cx="1460310" cy="464024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16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4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400" dirty="0" smtClean="0"/>
              <a:t>CPQ Asia: Connectivity Check: Bulk </a:t>
            </a:r>
            <a:endParaRPr lang="en-US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381" y="959571"/>
            <a:ext cx="9400359" cy="4762500"/>
          </a:xfrm>
          <a:prstGeom prst="rect">
            <a:avLst/>
          </a:prstGeom>
        </p:spPr>
      </p:pic>
      <p:sp>
        <p:nvSpPr>
          <p:cNvPr id="6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9797143" y="929017"/>
            <a:ext cx="2394853" cy="5859577"/>
          </a:xfrm>
        </p:spPr>
        <p:txBody>
          <a:bodyPr/>
          <a:lstStyle/>
          <a:p>
            <a:pPr marL="263525" lvl="2">
              <a:buClr>
                <a:schemeClr val="accent1"/>
              </a:buClr>
            </a:pPr>
            <a:r>
              <a:rPr lang="en-US" sz="1300" dirty="0" smtClean="0"/>
              <a:t>ULL Check button should be introduced to execute the ULL check</a:t>
            </a:r>
          </a:p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No hiding rule is required for this button</a:t>
            </a:r>
          </a:p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For each line item a new radio button for ULL should be provided. </a:t>
            </a:r>
            <a:endParaRPr lang="en-US" sz="1300" dirty="0" smtClean="0"/>
          </a:p>
          <a:p>
            <a:endParaRPr lang="en-US" sz="1300" dirty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087312" y="1862618"/>
            <a:ext cx="992778" cy="32657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158861" y="4135556"/>
            <a:ext cx="992778" cy="24050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8749664" y="4127862"/>
            <a:ext cx="992778" cy="24819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5355772" y="3370217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223113" y="3273782"/>
            <a:ext cx="111237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00B050"/>
                </a:solidFill>
              </a:rPr>
              <a:t>Remm Roppongi, Chome – 7, Minato City, Tokyo 106-003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950631" y="3370217"/>
            <a:ext cx="799033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933512" y="3340821"/>
            <a:ext cx="10710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rgbClr val="00B050"/>
                </a:solidFill>
              </a:rPr>
              <a:t>Villa Fontanne, </a:t>
            </a:r>
            <a:r>
              <a:rPr lang="en-US" sz="1000" dirty="0">
                <a:solidFill>
                  <a:srgbClr val="00B050"/>
                </a:solidFill>
              </a:rPr>
              <a:t>Chome – 7, Minato City, Tokyo 106-0032</a:t>
            </a:r>
          </a:p>
        </p:txBody>
      </p:sp>
    </p:spTree>
    <p:extLst>
      <p:ext uri="{BB962C8B-B14F-4D97-AF65-F5344CB8AC3E}">
        <p14:creationId xmlns:p14="http://schemas.microsoft.com/office/powerpoint/2010/main" val="52728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5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400" dirty="0"/>
              <a:t>CPQ Asia: Connectivity Check: Bulk </a:t>
            </a:r>
            <a:endParaRPr lang="en-US" sz="1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74" y="1397726"/>
            <a:ext cx="8778240" cy="3847076"/>
          </a:xfrm>
          <a:prstGeom prst="rect">
            <a:avLst/>
          </a:prstGeom>
        </p:spPr>
      </p:pic>
      <p:sp>
        <p:nvSpPr>
          <p:cNvPr id="5" name="Vertical Text Placeholder 1"/>
          <p:cNvSpPr txBox="1">
            <a:spLocks/>
          </p:cNvSpPr>
          <p:nvPr/>
        </p:nvSpPr>
        <p:spPr>
          <a:xfrm>
            <a:off x="9533744" y="1198074"/>
            <a:ext cx="2497147" cy="5112785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In case the ULL check provides results back then the colour of the text (ULL) should change to blue. This indicates the availability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625733" y="4893202"/>
            <a:ext cx="992778" cy="24050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216536" y="4885508"/>
            <a:ext cx="992778" cy="24819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116284" y="4127863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5160719" y="3933374"/>
            <a:ext cx="110517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B050"/>
                </a:solidFill>
              </a:rPr>
              <a:t>Remm Roppongi, Chome – 7, Minato City, Tokyo 106-0032</a:t>
            </a:r>
            <a:endParaRPr lang="en-US" sz="1000" dirty="0">
              <a:solidFill>
                <a:srgbClr val="00B05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587394" y="4135557"/>
            <a:ext cx="799033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587394" y="3961293"/>
            <a:ext cx="10710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rgbClr val="00B050"/>
                </a:solidFill>
              </a:rPr>
              <a:t>Villa Fontanne, </a:t>
            </a:r>
            <a:r>
              <a:rPr lang="en-US" sz="1000" dirty="0">
                <a:solidFill>
                  <a:srgbClr val="00B050"/>
                </a:solidFill>
              </a:rPr>
              <a:t>Chome – 7, Minato City, Tokyo 106-0032</a:t>
            </a:r>
          </a:p>
        </p:txBody>
      </p:sp>
    </p:spTree>
    <p:extLst>
      <p:ext uri="{BB962C8B-B14F-4D97-AF65-F5344CB8AC3E}">
        <p14:creationId xmlns:p14="http://schemas.microsoft.com/office/powerpoint/2010/main" val="414420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6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400" dirty="0"/>
              <a:t>CPQ Asia: Connectivity Check: Bulk </a:t>
            </a:r>
            <a:endParaRPr lang="en-US" sz="1400" dirty="0"/>
          </a:p>
        </p:txBody>
      </p:sp>
      <p:sp>
        <p:nvSpPr>
          <p:cNvPr id="5" name="Vertical Text Placeholder 1"/>
          <p:cNvSpPr txBox="1">
            <a:spLocks/>
          </p:cNvSpPr>
          <p:nvPr/>
        </p:nvSpPr>
        <p:spPr>
          <a:xfrm>
            <a:off x="10044752" y="998423"/>
            <a:ext cx="2147244" cy="5859577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Once user select the ULL Fibre posting running the ULL Fibre check then the records will be displayed to him in pop up (similar to </a:t>
            </a:r>
            <a:r>
              <a:rPr lang="en-GB" sz="1300" dirty="0" err="1" smtClean="0"/>
              <a:t>Offnet</a:t>
            </a:r>
            <a:r>
              <a:rPr lang="en-GB" sz="1300" dirty="0" smtClean="0"/>
              <a:t>)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152" y="1092584"/>
            <a:ext cx="9753600" cy="443865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370212" y="2704393"/>
            <a:ext cx="5877600" cy="270401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59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7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400" dirty="0"/>
              <a:t>CPQ Asia: Connectivity Check: Bulk </a:t>
            </a:r>
            <a:endParaRPr lang="en-US" sz="1400" dirty="0"/>
          </a:p>
        </p:txBody>
      </p:sp>
      <p:sp>
        <p:nvSpPr>
          <p:cNvPr id="5" name="Vertical Text Placeholder 1"/>
          <p:cNvSpPr txBox="1">
            <a:spLocks/>
          </p:cNvSpPr>
          <p:nvPr/>
        </p:nvSpPr>
        <p:spPr>
          <a:xfrm>
            <a:off x="9951992" y="1265468"/>
            <a:ext cx="1960654" cy="5315803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Advance filter section to be updated to have the ULL option to filter out the records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628" y="1268044"/>
            <a:ext cx="9570039" cy="398689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35131" y="4680176"/>
            <a:ext cx="5041578" cy="24452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276709" y="3030582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942218" y="3030581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75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8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400" dirty="0"/>
              <a:t>CPQ Asia: Connectivity Check: Bulk </a:t>
            </a:r>
            <a:endParaRPr lang="en-US" sz="1400" dirty="0"/>
          </a:p>
        </p:txBody>
      </p:sp>
      <p:sp>
        <p:nvSpPr>
          <p:cNvPr id="5" name="Vertical Text Placeholder 1"/>
          <p:cNvSpPr txBox="1">
            <a:spLocks/>
          </p:cNvSpPr>
          <p:nvPr/>
        </p:nvSpPr>
        <p:spPr>
          <a:xfrm>
            <a:off x="10045337" y="998423"/>
            <a:ext cx="2146663" cy="5859577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In case the bandwidth and resiliency of the bulk record is not inline with the ULL fibre record selected on the connectivity page then system will show error to the user</a:t>
            </a:r>
          </a:p>
          <a:p>
            <a:pPr marL="263525" lvl="2">
              <a:buClr>
                <a:schemeClr val="accent1"/>
              </a:buClr>
            </a:pPr>
            <a:endParaRPr lang="en-GB" sz="1300" dirty="0"/>
          </a:p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User can correct the bandwidth on the  CPQ </a:t>
            </a:r>
            <a:r>
              <a:rPr lang="en-GB" sz="1300" dirty="0" err="1" smtClean="0"/>
              <a:t>config</a:t>
            </a:r>
            <a:r>
              <a:rPr lang="en-GB" sz="1300" dirty="0" smtClean="0"/>
              <a:t> screen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761" y="878501"/>
            <a:ext cx="9418320" cy="4572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460605" y="4439905"/>
            <a:ext cx="1762800" cy="34902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01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7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1C6D3D9588334DBADF6A4394F92A1A" ma:contentTypeVersion="915" ma:contentTypeDescription="Create a new document." ma:contentTypeScope="" ma:versionID="7654ba59b25d4f121c231d8ce332aa67">
  <xsd:schema xmlns:xsd="http://www.w3.org/2001/XMLSchema" xmlns:xs="http://www.w3.org/2001/XMLSchema" xmlns:p="http://schemas.microsoft.com/office/2006/metadata/properties" xmlns:ns2="450c2c13-7744-47da-b0b3-ec9a261364d9" xmlns:ns3="bfb1d42a-be00-49d6-98c3-ab38162f85f2" targetNamespace="http://schemas.microsoft.com/office/2006/metadata/properties" ma:root="true" ma:fieldsID="7de171cb582de5035ab811f51f095a2c" ns2:_="" ns3:_="">
    <xsd:import namespace="450c2c13-7744-47da-b0b3-ec9a261364d9"/>
    <xsd:import namespace="bfb1d42a-be00-49d6-98c3-ab38162f85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0c2c13-7744-47da-b0b3-ec9a261364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1d42a-be00-49d6-98c3-ab38162f85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541B617-D5BC-47EA-8536-A8E98A2534AD}"/>
</file>

<file path=customXml/itemProps2.xml><?xml version="1.0" encoding="utf-8"?>
<ds:datastoreItem xmlns:ds="http://schemas.openxmlformats.org/officeDocument/2006/customXml" ds:itemID="{AD586428-34E9-447E-B98A-E91BCDC82503}"/>
</file>

<file path=customXml/itemProps3.xml><?xml version="1.0" encoding="utf-8"?>
<ds:datastoreItem xmlns:ds="http://schemas.openxmlformats.org/officeDocument/2006/customXml" ds:itemID="{49DFB857-B67C-48E2-B6B6-53027C282BB8}"/>
</file>

<file path=docProps/app.xml><?xml version="1.0" encoding="utf-8"?>
<Properties xmlns="http://schemas.openxmlformats.org/officeDocument/2006/extended-properties" xmlns:vt="http://schemas.openxmlformats.org/officeDocument/2006/docPropsVTypes">
  <TotalTime>25564</TotalTime>
  <Words>316</Words>
  <Application>Microsoft Office PowerPoint</Application>
  <PresentationFormat>Widescreen</PresentationFormat>
  <Paragraphs>55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Calibri</vt:lpstr>
      <vt:lpstr>Courier New</vt:lpstr>
      <vt:lpstr>GothamBlack</vt:lpstr>
      <vt:lpstr>Open Sans</vt:lpstr>
      <vt:lpstr>Oswald</vt:lpstr>
      <vt:lpstr>Segoe UI Light</vt:lpstr>
      <vt:lpstr>Wingdings</vt:lpstr>
      <vt:lpstr>Corporate template-set COLT</vt:lpstr>
      <vt:lpstr>1_Corporate template-set COLT</vt:lpstr>
      <vt:lpstr>2_Corporate template-set COLT</vt:lpstr>
      <vt:lpstr>think-cell Slide</vt:lpstr>
      <vt:lpstr>CPQ – Asia Bulk  Design and Mockup Dec ‘19</vt:lpstr>
      <vt:lpstr>Document Release and Change Log Details</vt:lpstr>
      <vt:lpstr>CPQ Asia : Input Asian site address: Bulk Upload Utility</vt:lpstr>
      <vt:lpstr>CPQ Asia: Connectivity Check: Bulk </vt:lpstr>
      <vt:lpstr>CPQ Asia: Connectivity Check: Bulk </vt:lpstr>
      <vt:lpstr>CPQ Asia: Connectivity Check: Bulk </vt:lpstr>
      <vt:lpstr>CPQ Asia: Connectivity Check: Bulk </vt:lpstr>
      <vt:lpstr>CPQ Asia: Connectivity Check: Bulk 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Upadhyay, Saurabh</cp:lastModifiedBy>
  <cp:revision>1689</cp:revision>
  <dcterms:created xsi:type="dcterms:W3CDTF">2017-08-30T16:21:34Z</dcterms:created>
  <dcterms:modified xsi:type="dcterms:W3CDTF">2019-12-09T03:1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TECHMAHINDRA\PR00623017</vt:lpwstr>
  </property>
  <property fmtid="{D5CDD505-2E9C-101B-9397-08002B2CF9AE}" pid="4" name="DLPManualFileClassificationLastModificationDate">
    <vt:lpwstr>1567770010</vt:lpwstr>
  </property>
  <property fmtid="{D5CDD505-2E9C-101B-9397-08002B2CF9AE}" pid="5" name="DLPManualFileClassificationVersion">
    <vt:lpwstr>11.1.0.61</vt:lpwstr>
  </property>
  <property fmtid="{D5CDD505-2E9C-101B-9397-08002B2CF9AE}" pid="6" name="ContentTypeId">
    <vt:lpwstr>0x010100A11C6D3D9588334DBADF6A4394F92A1A</vt:lpwstr>
  </property>
</Properties>
</file>